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8" r:id="rId2"/>
    <p:sldId id="267" r:id="rId3"/>
    <p:sldId id="263" r:id="rId4"/>
    <p:sldId id="268" r:id="rId5"/>
    <p:sldId id="269" r:id="rId6"/>
    <p:sldId id="270" r:id="rId7"/>
    <p:sldId id="271" r:id="rId8"/>
    <p:sldId id="272" r:id="rId9"/>
    <p:sldId id="273" r:id="rId10"/>
    <p:sldId id="274" r:id="rId11"/>
    <p:sldId id="275" r:id="rId12"/>
    <p:sldId id="276" r:id="rId13"/>
    <p:sldId id="277" r:id="rId14"/>
  </p:sldIdLst>
  <p:sldSz cx="9144000" cy="6858000" type="screen4x3"/>
  <p:notesSz cx="7010400" cy="9296400"/>
  <p:custDataLst>
    <p:tags r:id="rId16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29">
          <p15:clr>
            <a:srgbClr val="A4A3A4"/>
          </p15:clr>
        </p15:guide>
        <p15:guide id="2" orient="horz" pos="810">
          <p15:clr>
            <a:srgbClr val="A4A3A4"/>
          </p15:clr>
        </p15:guide>
        <p15:guide id="3" orient="horz" pos="1493">
          <p15:clr>
            <a:srgbClr val="A4A3A4"/>
          </p15:clr>
        </p15:guide>
        <p15:guide id="4" pos="470">
          <p15:clr>
            <a:srgbClr val="A4A3A4"/>
          </p15:clr>
        </p15:guide>
        <p15:guide id="5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E"/>
    <a:srgbClr val="CED2DC"/>
    <a:srgbClr val="CED2D2"/>
    <a:srgbClr val="FEF6F0"/>
    <a:srgbClr val="FBD5B5"/>
    <a:srgbClr val="B8CCE4"/>
    <a:srgbClr val="68CCE4"/>
    <a:srgbClr val="B9CDE5"/>
    <a:srgbClr val="95B3D7"/>
    <a:srgbClr val="1BA3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867" autoAdjust="0"/>
    <p:restoredTop sz="94639" autoAdjust="0"/>
  </p:normalViewPr>
  <p:slideViewPr>
    <p:cSldViewPr snapToGrid="0">
      <p:cViewPr varScale="1">
        <p:scale>
          <a:sx n="72" d="100"/>
          <a:sy n="72" d="100"/>
        </p:scale>
        <p:origin x="1518" y="72"/>
      </p:cViewPr>
      <p:guideLst>
        <p:guide orient="horz" pos="2629"/>
        <p:guide orient="horz" pos="810"/>
        <p:guide orient="horz" pos="1493"/>
        <p:guide pos="470"/>
        <p:guide pos="132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45720" cy="4572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7/12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5.png"/><Relationship Id="rId2" Type="http://schemas.openxmlformats.org/officeDocument/2006/relationships/tags" Target="../tags/tag10.xml"/><Relationship Id="rId16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vmlDrawing" Target="../drawings/vmlDrawing6.vml"/><Relationship Id="rId6" Type="http://schemas.openxmlformats.org/officeDocument/2006/relationships/tags" Target="../tags/tag37.xml"/><Relationship Id="rId11" Type="http://schemas.openxmlformats.org/officeDocument/2006/relationships/image" Target="../media/image4.jpeg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ido,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6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73827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6693696" y="6197601"/>
            <a:ext cx="1863728" cy="667386"/>
            <a:chOff x="6855280" y="6288821"/>
            <a:chExt cx="1703774" cy="576165"/>
          </a:xfrm>
        </p:grpSpPr>
        <p:pic>
          <p:nvPicPr>
            <p:cNvPr id="16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2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391016" y="4632333"/>
            <a:ext cx="1368413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10" Type="http://schemas.openxmlformats.org/officeDocument/2006/relationships/tags" Target="../tags/tag4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+mj-lt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693696" y="6197601"/>
            <a:ext cx="1863728" cy="667386"/>
            <a:chOff x="6855280" y="6288821"/>
            <a:chExt cx="1703774" cy="576165"/>
          </a:xfrm>
        </p:grpSpPr>
        <p:pic>
          <p:nvPicPr>
            <p:cNvPr id="1031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 rotWithShape="1">
            <a:blip r:embed="rId18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15"/>
              </p:custDataLst>
            </p:nvPr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2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3"/>
            </p:custDataLst>
          </p:nvPr>
        </p:nvSpPr>
        <p:spPr>
          <a:xfrm rot="10800000" flipH="1" flipV="1">
            <a:off x="0" y="6716678"/>
            <a:ext cx="6577014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73" r:id="rId3"/>
    <p:sldLayoutId id="2147483667" r:id="rId4"/>
    <p:sldLayoutId id="2147483674" r:id="rId5"/>
  </p:sldLayoutIdLst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•"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1pPr>
      <a:lvl2pPr marL="342900" indent="-16827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–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517525" indent="-17462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85800" indent="-16827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–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860425" indent="-17462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»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313084" y="1690686"/>
            <a:ext cx="5833110" cy="1470025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ESTADISTICAS GESTIÓN DEL TALENTO HUMANO.</a:t>
            </a:r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313084" y="4248150"/>
            <a:ext cx="3219450" cy="361950"/>
          </a:xfrm>
        </p:spPr>
        <p:txBody>
          <a:bodyPr/>
          <a:lstStyle/>
          <a:p>
            <a:r>
              <a:rPr lang="es-ES" dirty="0"/>
              <a:t>Diciembre 31 de 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Declaración bienes y rentas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78321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1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Declaración bienes y rentas-2016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7618214"/>
              </p:ext>
            </p:extLst>
          </p:nvPr>
        </p:nvGraphicFramePr>
        <p:xfrm>
          <a:off x="596613" y="1634391"/>
          <a:ext cx="7385851" cy="33291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759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0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02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46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de funcionarios a los que se les expidió al ingreso declaración de bienes y rentas</a:t>
                      </a:r>
                      <a:endParaRPr lang="es-C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de declaraciones actualizadas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s-CO" sz="1600" b="1" dirty="0"/>
                        <a:t>Directivo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6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* (Técnico Asistencial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560"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O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sten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956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y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2280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/>
                        <a:t>236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ítulo 2"/>
          <p:cNvSpPr txBox="1">
            <a:spLocks/>
          </p:cNvSpPr>
          <p:nvPr/>
        </p:nvSpPr>
        <p:spPr bwMode="auto">
          <a:xfrm>
            <a:off x="388555" y="5475157"/>
            <a:ext cx="7747527" cy="51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1200" dirty="0">
                <a:sym typeface="Candara"/>
              </a:rPr>
              <a:t>* Incluye asistenciales (secretarias, conductores, mensajeros, archivistas etc.)</a:t>
            </a:r>
            <a:br>
              <a:rPr lang="es-ES" sz="1200" dirty="0">
                <a:sym typeface="Candara"/>
              </a:rPr>
            </a:b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2407540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Funcionarios capacitados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108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8798" y="404217"/>
            <a:ext cx="8595361" cy="789709"/>
          </a:xfrm>
        </p:spPr>
        <p:txBody>
          <a:bodyPr/>
          <a:lstStyle/>
          <a:p>
            <a:r>
              <a:rPr lang="es-ES" dirty="0">
                <a:sym typeface="Candara"/>
              </a:rPr>
              <a:t>Funcionarios capacitados-2016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C6E1E2A3-CFA1-4980-A320-66BE203702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7044013"/>
              </p:ext>
            </p:extLst>
          </p:nvPr>
        </p:nvGraphicFramePr>
        <p:xfrm>
          <a:off x="66260" y="1272209"/>
          <a:ext cx="9040438" cy="5022566"/>
        </p:xfrm>
        <a:graphic>
          <a:graphicData uri="http://schemas.openxmlformats.org/drawingml/2006/table">
            <a:tbl>
              <a:tblPr/>
              <a:tblGrid>
                <a:gridCol w="851284">
                  <a:extLst>
                    <a:ext uri="{9D8B030D-6E8A-4147-A177-3AD203B41FA5}">
                      <a16:colId xmlns:a16="http://schemas.microsoft.com/office/drawing/2014/main" val="3735356600"/>
                    </a:ext>
                  </a:extLst>
                </a:gridCol>
                <a:gridCol w="2715706">
                  <a:extLst>
                    <a:ext uri="{9D8B030D-6E8A-4147-A177-3AD203B41FA5}">
                      <a16:colId xmlns:a16="http://schemas.microsoft.com/office/drawing/2014/main" val="4028782776"/>
                    </a:ext>
                  </a:extLst>
                </a:gridCol>
                <a:gridCol w="546505">
                  <a:extLst>
                    <a:ext uri="{9D8B030D-6E8A-4147-A177-3AD203B41FA5}">
                      <a16:colId xmlns:a16="http://schemas.microsoft.com/office/drawing/2014/main" val="2568372917"/>
                    </a:ext>
                  </a:extLst>
                </a:gridCol>
                <a:gridCol w="227010">
                  <a:extLst>
                    <a:ext uri="{9D8B030D-6E8A-4147-A177-3AD203B41FA5}">
                      <a16:colId xmlns:a16="http://schemas.microsoft.com/office/drawing/2014/main" val="590857609"/>
                    </a:ext>
                  </a:extLst>
                </a:gridCol>
                <a:gridCol w="109301">
                  <a:extLst>
                    <a:ext uri="{9D8B030D-6E8A-4147-A177-3AD203B41FA5}">
                      <a16:colId xmlns:a16="http://schemas.microsoft.com/office/drawing/2014/main" val="968505018"/>
                    </a:ext>
                  </a:extLst>
                </a:gridCol>
                <a:gridCol w="1320018">
                  <a:extLst>
                    <a:ext uri="{9D8B030D-6E8A-4147-A177-3AD203B41FA5}">
                      <a16:colId xmlns:a16="http://schemas.microsoft.com/office/drawing/2014/main" val="2476167054"/>
                    </a:ext>
                  </a:extLst>
                </a:gridCol>
                <a:gridCol w="243826">
                  <a:extLst>
                    <a:ext uri="{9D8B030D-6E8A-4147-A177-3AD203B41FA5}">
                      <a16:colId xmlns:a16="http://schemas.microsoft.com/office/drawing/2014/main" val="215054976"/>
                    </a:ext>
                  </a:extLst>
                </a:gridCol>
                <a:gridCol w="243826">
                  <a:extLst>
                    <a:ext uri="{9D8B030D-6E8A-4147-A177-3AD203B41FA5}">
                      <a16:colId xmlns:a16="http://schemas.microsoft.com/office/drawing/2014/main" val="60839133"/>
                    </a:ext>
                  </a:extLst>
                </a:gridCol>
                <a:gridCol w="245926">
                  <a:extLst>
                    <a:ext uri="{9D8B030D-6E8A-4147-A177-3AD203B41FA5}">
                      <a16:colId xmlns:a16="http://schemas.microsoft.com/office/drawing/2014/main" val="4116727946"/>
                    </a:ext>
                  </a:extLst>
                </a:gridCol>
                <a:gridCol w="245926">
                  <a:extLst>
                    <a:ext uri="{9D8B030D-6E8A-4147-A177-3AD203B41FA5}">
                      <a16:colId xmlns:a16="http://schemas.microsoft.com/office/drawing/2014/main" val="1075701474"/>
                    </a:ext>
                  </a:extLst>
                </a:gridCol>
                <a:gridCol w="245926">
                  <a:extLst>
                    <a:ext uri="{9D8B030D-6E8A-4147-A177-3AD203B41FA5}">
                      <a16:colId xmlns:a16="http://schemas.microsoft.com/office/drawing/2014/main" val="1759410245"/>
                    </a:ext>
                  </a:extLst>
                </a:gridCol>
                <a:gridCol w="245926">
                  <a:extLst>
                    <a:ext uri="{9D8B030D-6E8A-4147-A177-3AD203B41FA5}">
                      <a16:colId xmlns:a16="http://schemas.microsoft.com/office/drawing/2014/main" val="215089085"/>
                    </a:ext>
                  </a:extLst>
                </a:gridCol>
                <a:gridCol w="245926">
                  <a:extLst>
                    <a:ext uri="{9D8B030D-6E8A-4147-A177-3AD203B41FA5}">
                      <a16:colId xmlns:a16="http://schemas.microsoft.com/office/drawing/2014/main" val="2040772253"/>
                    </a:ext>
                  </a:extLst>
                </a:gridCol>
                <a:gridCol w="245926">
                  <a:extLst>
                    <a:ext uri="{9D8B030D-6E8A-4147-A177-3AD203B41FA5}">
                      <a16:colId xmlns:a16="http://schemas.microsoft.com/office/drawing/2014/main" val="498384011"/>
                    </a:ext>
                  </a:extLst>
                </a:gridCol>
                <a:gridCol w="245926">
                  <a:extLst>
                    <a:ext uri="{9D8B030D-6E8A-4147-A177-3AD203B41FA5}">
                      <a16:colId xmlns:a16="http://schemas.microsoft.com/office/drawing/2014/main" val="3236100275"/>
                    </a:ext>
                  </a:extLst>
                </a:gridCol>
                <a:gridCol w="245926">
                  <a:extLst>
                    <a:ext uri="{9D8B030D-6E8A-4147-A177-3AD203B41FA5}">
                      <a16:colId xmlns:a16="http://schemas.microsoft.com/office/drawing/2014/main" val="3315775035"/>
                    </a:ext>
                  </a:extLst>
                </a:gridCol>
                <a:gridCol w="269049">
                  <a:extLst>
                    <a:ext uri="{9D8B030D-6E8A-4147-A177-3AD203B41FA5}">
                      <a16:colId xmlns:a16="http://schemas.microsoft.com/office/drawing/2014/main" val="1520471398"/>
                    </a:ext>
                  </a:extLst>
                </a:gridCol>
                <a:gridCol w="546505">
                  <a:extLst>
                    <a:ext uri="{9D8B030D-6E8A-4147-A177-3AD203B41FA5}">
                      <a16:colId xmlns:a16="http://schemas.microsoft.com/office/drawing/2014/main" val="222360739"/>
                    </a:ext>
                  </a:extLst>
                </a:gridCol>
              </a:tblGrid>
              <a:tr h="559218"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ma de la capacitación</a:t>
                      </a:r>
                    </a:p>
                  </a:txBody>
                  <a:tcPr marL="6003" marR="6003" marT="6003" marB="28815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mbre de la capacitación</a:t>
                      </a:r>
                    </a:p>
                  </a:txBody>
                  <a:tcPr marL="6003" marR="6003" marT="6003" marB="28815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úmero de horas de la capacitación</a:t>
                      </a:r>
                    </a:p>
                  </a:txBody>
                  <a:tcPr marL="6003" marR="6003" marT="6003" marB="28815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600" b="1" i="0" u="none" strike="noStrike">
                          <a:solidFill>
                            <a:srgbClr val="386295"/>
                          </a:solidFill>
                          <a:effectLst/>
                          <a:latin typeface="Calibri" panose="020F0502020204030204" pitchFamily="34" charset="0"/>
                        </a:rPr>
                        <a:t>Interna</a:t>
                      </a:r>
                    </a:p>
                  </a:txBody>
                  <a:tcPr marL="6003" marR="6003" marT="6003" marB="28815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4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CO" sz="600" b="1" i="0" u="none" strike="noStrike">
                          <a:solidFill>
                            <a:srgbClr val="386295"/>
                          </a:solidFill>
                          <a:effectLst/>
                          <a:latin typeface="Calibri" panose="020F0502020204030204" pitchFamily="34" charset="0"/>
                        </a:rPr>
                        <a:t>Externa</a:t>
                      </a:r>
                    </a:p>
                  </a:txBody>
                  <a:tcPr marL="6003" marR="6003" marT="6003" marB="28815" vert="vert27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4C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echa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PERVISOR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POYO A LA SUPERVISION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rectivo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sesor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fesional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écnico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. Misional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. Apoyo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visional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tratista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mporal</a:t>
                      </a:r>
                    </a:p>
                  </a:txBody>
                  <a:tcPr marL="6003" marR="6003" marT="6003" marB="28815" vert="vert27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CO" sz="6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  funcionarios capacitados por tema.</a:t>
                      </a:r>
                    </a:p>
                  </a:txBody>
                  <a:tcPr marL="6003" marR="6003" marT="6003" marB="28815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617964"/>
                  </a:ext>
                </a:extLst>
              </a:tr>
              <a:tr h="188842">
                <a:tc rowSpan="4">
                  <a:txBody>
                    <a:bodyPr/>
                    <a:lstStyle/>
                    <a:p>
                      <a:pPr algn="l" fontAlgn="ctr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STION ADMINISTRATIVA</a:t>
                      </a:r>
                    </a:p>
                  </a:txBody>
                  <a:tcPr marL="6003" marR="6003" marT="6003" marB="2881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ORFEO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 A DICIEMBRE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870114"/>
                  </a:ext>
                </a:extLst>
              </a:tr>
              <a:tr h="18884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OFIMÁTICA EXCEL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 A DICIEMBRE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0008571"/>
                  </a:ext>
                </a:extLst>
              </a:tr>
              <a:tr h="18884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CT - ONLINE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UBRE Y NOVIEMBRE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0468253"/>
                  </a:ext>
                </a:extLst>
              </a:tr>
              <a:tr h="18884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PRESENTACIONES EFECTIVAS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 A DICIEMBRE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359971"/>
                  </a:ext>
                </a:extLst>
              </a:tr>
              <a:tr h="188842">
                <a:tc rowSpan="4">
                  <a:txBody>
                    <a:bodyPr/>
                    <a:lstStyle/>
                    <a:p>
                      <a:pPr algn="l" fontAlgn="ctr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STION FINANCIERA</a:t>
                      </a:r>
                    </a:p>
                  </a:txBody>
                  <a:tcPr marL="6003" marR="6003" marT="6003" marB="2881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ANZAS PARA NO FINANCIEROS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ZO DE 2016 A JUNIO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5134853"/>
                  </a:ext>
                </a:extLst>
              </a:tr>
              <a:tr h="18884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PECTOS FINANCIEROS BÁSICOS PARA LAS CONSECIONES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IEMBRE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7801806"/>
                  </a:ext>
                </a:extLst>
              </a:tr>
              <a:tr h="18884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PECTOS Y RIESGOS FINANCIEROS DE LAS 4 G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IO Y JULIO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096396"/>
                  </a:ext>
                </a:extLst>
              </a:tr>
              <a:tr h="18884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LLER NORMAS INTERNACIONALES DE INFORMACIÓN FINANCIERA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IEMBRE Y OCTUBRE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2148688"/>
                  </a:ext>
                </a:extLst>
              </a:tr>
              <a:tr h="188842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ROS</a:t>
                      </a:r>
                    </a:p>
                  </a:txBody>
                  <a:tcPr marL="6003" marR="6003" marT="6003" marB="2881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URIDAD VIAL 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DE JUNIO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01719"/>
                  </a:ext>
                </a:extLst>
              </a:tr>
              <a:tr h="18884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ARLA TUNELES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DE FEBRERO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55797854"/>
                  </a:ext>
                </a:extLst>
              </a:tr>
              <a:tr h="18884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ESGOS NATURALES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JUNIO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2825297"/>
                  </a:ext>
                </a:extLst>
              </a:tr>
              <a:tr h="320469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ATACION  PÚBLICA</a:t>
                      </a:r>
                    </a:p>
                  </a:txBody>
                  <a:tcPr marL="6003" marR="6003" marT="6003" marB="2881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 CURSO SUPERVISORES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 A DICIEMBRE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8971879"/>
                  </a:ext>
                </a:extLst>
              </a:tr>
              <a:tr h="18884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BITRAMENTO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ZO 15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3513875"/>
                  </a:ext>
                </a:extLst>
              </a:tr>
              <a:tr h="331217">
                <a:tc>
                  <a:txBody>
                    <a:bodyPr/>
                    <a:lstStyle/>
                    <a:p>
                      <a:pPr algn="l" fontAlgn="ctr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LTURA ORGANIZACIONAL</a:t>
                      </a:r>
                    </a:p>
                  </a:txBody>
                  <a:tcPr marL="6003" marR="6003" marT="6003" marB="2881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 INDUCCIÓN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 A DICIEMBRE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3402502"/>
                  </a:ext>
                </a:extLst>
              </a:tr>
              <a:tr h="331217">
                <a:tc>
                  <a:txBody>
                    <a:bodyPr/>
                    <a:lstStyle/>
                    <a:p>
                      <a:pPr algn="l" fontAlgn="ctr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STION TALENTO HUMANO</a:t>
                      </a:r>
                    </a:p>
                  </a:txBody>
                  <a:tcPr marL="6003" marR="6003" marT="6003" marB="2881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MINARIO GESTIÓN DEL TH - ESAP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UBRE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8537299"/>
                  </a:ext>
                </a:extLst>
              </a:tr>
              <a:tr h="188842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CHA ANTICORRUPCION ANTICORRUPCIÓN / ATENCIÓN AL CIUDADANO / PARTICIPACION CIUDADANA</a:t>
                      </a:r>
                    </a:p>
                  </a:txBody>
                  <a:tcPr marL="6003" marR="6003" marT="6003" marB="28815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ON VIRTUAL: ATENCIÓN AL CIUDADANO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 A DICIEMBRE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5222417"/>
                  </a:ext>
                </a:extLst>
              </a:tr>
              <a:tr h="31245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DIGO DE ÉTICA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IO 14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9638619"/>
                  </a:ext>
                </a:extLst>
              </a:tr>
              <a:tr h="71304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RRAMIENTAS PARA LA FUNCIÓN PÚBLICA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CIEMBRE 21 DE 20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s-C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</a:t>
                      </a:r>
                    </a:p>
                  </a:txBody>
                  <a:tcPr marL="6003" marR="6003" marT="6003" marB="28815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08351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168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Planta de persona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4287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Planta de personal aprobada-2016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1442917"/>
              </p:ext>
            </p:extLst>
          </p:nvPr>
        </p:nvGraphicFramePr>
        <p:xfrm>
          <a:off x="596613" y="1157416"/>
          <a:ext cx="7992210" cy="46499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497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98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49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29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891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55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endParaRPr lang="es-CO" sz="1600" dirty="0"/>
                    </a:p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de cargos establecidos por la planta de person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de cargos provistos</a:t>
                      </a:r>
                      <a:endParaRPr lang="es-C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de cargos vacan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ingresos o vinculaciones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s-CO" sz="1600" b="1" dirty="0"/>
                        <a:t>Directivo (Presidente y Vicepresidente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 (Gerentes, Jefes de oficina y Experto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 (Gestores y Analista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* (Técnico Asistencial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560"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O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sten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956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y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2280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8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ítulo 2"/>
          <p:cNvSpPr txBox="1">
            <a:spLocks/>
          </p:cNvSpPr>
          <p:nvPr/>
        </p:nvSpPr>
        <p:spPr bwMode="auto">
          <a:xfrm>
            <a:off x="596613" y="6114919"/>
            <a:ext cx="8595361" cy="51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1200" dirty="0">
                <a:sym typeface="Candara"/>
              </a:rPr>
              <a:t>* Incluye asistenciales (secretarias, conductores, mensajeros, archivistas etc.)</a:t>
            </a:r>
            <a:br>
              <a:rPr lang="es-ES" sz="1200" dirty="0">
                <a:sym typeface="Candara"/>
              </a:rPr>
            </a:b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157117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Funcionarios de libre nombramiento y remoción seleccionados por meritocracia.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78074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5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Funcionarios de libre nombramiento y remoción seleccionados por meritocracia-2016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0678261"/>
              </p:ext>
            </p:extLst>
          </p:nvPr>
        </p:nvGraphicFramePr>
        <p:xfrm>
          <a:off x="1862074" y="2355360"/>
          <a:ext cx="5461287" cy="20624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597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015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de funcionarios a los que se surtió un proceso de meritocráci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sz="1600" b="1" dirty="0"/>
                        <a:t>Directiv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613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Cargos por nive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62926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7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Cargos por nivel-2016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6378854"/>
              </p:ext>
            </p:extLst>
          </p:nvPr>
        </p:nvGraphicFramePr>
        <p:xfrm>
          <a:off x="790831" y="1243252"/>
          <a:ext cx="7595287" cy="48768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1930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6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5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Denomina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ingresos o vinculaciones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sz="1400" b="1" dirty="0"/>
                        <a:t>1.</a:t>
                      </a:r>
                      <a:r>
                        <a:rPr lang="es-CO" sz="1400" b="1" baseline="0" dirty="0"/>
                        <a:t> Funcionarios en la planta de personal</a:t>
                      </a:r>
                      <a:endParaRPr lang="es-CO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 Funcionarios inscritos en carrera administrati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 Funcionarios de libre nombramiento y remo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 Funcionarios ordenadores de gas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 Contratista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or servicios personales (persona natural-directa)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3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3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 Contratista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or servicios personales (cooperación internacional y outsoursing)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 Contratista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or servicios personales a través de outsoursing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 Funcionario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atalogados como trabajadores oficiales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. Funcionarios provision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15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. Funcionarios tempor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915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Evaluación desempeño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86136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9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Evaluación desempeño-2016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975414"/>
              </p:ext>
            </p:extLst>
          </p:nvPr>
        </p:nvGraphicFramePr>
        <p:xfrm>
          <a:off x="596613" y="1634391"/>
          <a:ext cx="7992210" cy="35374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497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3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7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69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891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55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endParaRPr lang="es-CO" sz="1600" dirty="0"/>
                    </a:p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 Libre nombramiento y remo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 Carrera administrati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 </a:t>
                      </a:r>
                    </a:p>
                    <a:p>
                      <a:pPr algn="ctr"/>
                      <a:r>
                        <a:rPr lang="es-CO" sz="1600" dirty="0"/>
                        <a:t>Provision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</a:t>
                      </a:r>
                    </a:p>
                    <a:p>
                      <a:pPr algn="ctr"/>
                      <a:r>
                        <a:rPr lang="es-CO" sz="1600" dirty="0"/>
                        <a:t>Tempora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s-CO" sz="1600" b="1" dirty="0"/>
                        <a:t>Directivo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* (Técnico Asistencial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560"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O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sten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956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y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2280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ítulo 2"/>
          <p:cNvSpPr txBox="1">
            <a:spLocks/>
          </p:cNvSpPr>
          <p:nvPr/>
        </p:nvSpPr>
        <p:spPr bwMode="auto">
          <a:xfrm>
            <a:off x="450900" y="5537503"/>
            <a:ext cx="8595361" cy="51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1200" dirty="0">
                <a:sym typeface="Candara"/>
              </a:rPr>
              <a:t>* Incluye asistenciales (secretarias, conductores, mensajeros, archivistas etc.)</a:t>
            </a:r>
            <a:br>
              <a:rPr lang="es-ES" sz="1200" dirty="0">
                <a:sym typeface="Candara"/>
              </a:rPr>
            </a:b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181019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9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spcAft>
            <a:spcPts val="600"/>
          </a:spcAft>
          <a:buClr>
            <a:schemeClr val="accent2"/>
          </a:buClr>
          <a:buSzPct val="120000"/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04</TotalTime>
  <Words>886</Words>
  <Application>Microsoft Office PowerPoint</Application>
  <PresentationFormat>Presentación en pantalla (4:3)</PresentationFormat>
  <Paragraphs>413</Paragraphs>
  <Slides>13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18" baseType="lpstr">
      <vt:lpstr>Arial</vt:lpstr>
      <vt:lpstr>Calibri</vt:lpstr>
      <vt:lpstr>Candara</vt:lpstr>
      <vt:lpstr>plantilla ANI</vt:lpstr>
      <vt:lpstr>think-cell Slide</vt:lpstr>
      <vt:lpstr>ESTADISTICAS GESTIÓN DEL TALENTO HUMANO.</vt:lpstr>
      <vt:lpstr>Planta de personal</vt:lpstr>
      <vt:lpstr>Planta de personal aprobada-2016 </vt:lpstr>
      <vt:lpstr>Funcionarios de libre nombramiento y remoción seleccionados por meritocracia.</vt:lpstr>
      <vt:lpstr>Funcionarios de libre nombramiento y remoción seleccionados por meritocracia-2016 </vt:lpstr>
      <vt:lpstr>Cargos por nivel</vt:lpstr>
      <vt:lpstr>Cargos por nivel-2016 </vt:lpstr>
      <vt:lpstr>Evaluación desempeño</vt:lpstr>
      <vt:lpstr>Evaluación desempeño-2016 </vt:lpstr>
      <vt:lpstr>Declaración bienes y rentas</vt:lpstr>
      <vt:lpstr>Declaración bienes y rentas-2016 </vt:lpstr>
      <vt:lpstr>Funcionarios capacitados</vt:lpstr>
      <vt:lpstr>Funcionarios capacitados-2016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garita</dc:creator>
  <cp:lastModifiedBy>Diego Fernando Ramirez Sepulveda</cp:lastModifiedBy>
  <cp:revision>223</cp:revision>
  <cp:lastPrinted>2015-09-30T21:09:15Z</cp:lastPrinted>
  <dcterms:created xsi:type="dcterms:W3CDTF">2015-03-20T20:44:41Z</dcterms:created>
  <dcterms:modified xsi:type="dcterms:W3CDTF">2017-07-12T20:22:21Z</dcterms:modified>
</cp:coreProperties>
</file>